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3"/>
  </p:notesMasterIdLst>
  <p:handoutMasterIdLst>
    <p:handoutMasterId r:id="rId14"/>
  </p:handoutMasterIdLst>
  <p:sldIdLst>
    <p:sldId id="1277" r:id="rId3"/>
    <p:sldId id="1293" r:id="rId4"/>
    <p:sldId id="1294" r:id="rId5"/>
    <p:sldId id="1296" r:id="rId6"/>
    <p:sldId id="1384" r:id="rId7"/>
    <p:sldId id="1373" r:id="rId8"/>
    <p:sldId id="1343" r:id="rId9"/>
    <p:sldId id="1344" r:id="rId10"/>
    <p:sldId id="1345" r:id="rId11"/>
    <p:sldId id="1346" r:id="rId1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13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1094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2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2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2. </a:t>
            </a:r>
            <a:r>
              <a:rPr lang="cs-CZ" b="1" dirty="0" smtClean="0"/>
              <a:t>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004281"/>
              </p:ext>
            </p:extLst>
          </p:nvPr>
        </p:nvGraphicFramePr>
        <p:xfrm>
          <a:off x="434413" y="847512"/>
          <a:ext cx="11435203" cy="5415018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126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77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tížení C19 JIP (pokles zatím pouze o 1/3 v porovnání se špičkovým zatížením na podzim 2021). Nemocnost personálu zatím bez zásadního vlivu na provoz.</a:t>
                      </a:r>
                    </a:p>
                  </a:txBody>
                  <a:tcPr marL="95250" marR="95250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2233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. Začínáme pociťovat nedostatek personálu z důvodu pozitivity či karantény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2221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navýšena elektivní péče, v intenzivní péči nadál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oví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(ZZ zatím nezadávají do DIP – informace zaslána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988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JHC pokles C+ hospitalizovaných na standardu, JIP zatížené také méně, trvá hospitalizac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mimo ISIN. Využívání možnost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acovní karantény.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2.1.2022 00:55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61</a:t>
            </a:r>
            <a:endParaRPr lang="cs-CZ" b="1" dirty="0" smtClean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7198"/>
              </p:ext>
            </p:extLst>
          </p:nvPr>
        </p:nvGraphicFramePr>
        <p:xfrm>
          <a:off x="205609" y="969815"/>
          <a:ext cx="9270899" cy="5344466"/>
        </p:xfrm>
        <a:graphic>
          <a:graphicData uri="http://schemas.openxmlformats.org/drawingml/2006/table">
            <a:tbl>
              <a:tblPr/>
              <a:tblGrid>
                <a:gridCol w="2035340">
                  <a:extLst>
                    <a:ext uri="{9D8B030D-6E8A-4147-A177-3AD203B41FA5}">
                      <a16:colId xmlns:a16="http://schemas.microsoft.com/office/drawing/2014/main" val="728306598"/>
                    </a:ext>
                  </a:extLst>
                </a:gridCol>
                <a:gridCol w="1159200">
                  <a:extLst>
                    <a:ext uri="{9D8B030D-6E8A-4147-A177-3AD203B41FA5}">
                      <a16:colId xmlns:a16="http://schemas.microsoft.com/office/drawing/2014/main" val="2393779081"/>
                    </a:ext>
                  </a:extLst>
                </a:gridCol>
                <a:gridCol w="1145719">
                  <a:extLst>
                    <a:ext uri="{9D8B030D-6E8A-4147-A177-3AD203B41FA5}">
                      <a16:colId xmlns:a16="http://schemas.microsoft.com/office/drawing/2014/main" val="92564524"/>
                    </a:ext>
                  </a:extLst>
                </a:gridCol>
                <a:gridCol w="1145719">
                  <a:extLst>
                    <a:ext uri="{9D8B030D-6E8A-4147-A177-3AD203B41FA5}">
                      <a16:colId xmlns:a16="http://schemas.microsoft.com/office/drawing/2014/main" val="1313744985"/>
                    </a:ext>
                  </a:extLst>
                </a:gridCol>
                <a:gridCol w="1199636">
                  <a:extLst>
                    <a:ext uri="{9D8B030D-6E8A-4147-A177-3AD203B41FA5}">
                      <a16:colId xmlns:a16="http://schemas.microsoft.com/office/drawing/2014/main" val="348384360"/>
                    </a:ext>
                  </a:extLst>
                </a:gridCol>
                <a:gridCol w="954319">
                  <a:extLst>
                    <a:ext uri="{9D8B030D-6E8A-4147-A177-3AD203B41FA5}">
                      <a16:colId xmlns:a16="http://schemas.microsoft.com/office/drawing/2014/main" val="3444425162"/>
                    </a:ext>
                  </a:extLst>
                </a:gridCol>
                <a:gridCol w="1630966">
                  <a:extLst>
                    <a:ext uri="{9D8B030D-6E8A-4147-A177-3AD203B41FA5}">
                      <a16:colId xmlns:a16="http://schemas.microsoft.com/office/drawing/2014/main" val="3550653311"/>
                    </a:ext>
                  </a:extLst>
                </a:gridCol>
              </a:tblGrid>
              <a:tr h="19276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8713396"/>
                  </a:ext>
                </a:extLst>
              </a:tr>
              <a:tr h="192761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2.01. 2022, 12:00 h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6920652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375811"/>
                  </a:ext>
                </a:extLst>
              </a:tr>
              <a:tr h="19137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9090234"/>
                  </a:ext>
                </a:extLst>
              </a:tr>
              <a:tr h="66640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2659181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5122292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3155513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1148403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0136431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594305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4626402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9221652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3528292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5059920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319974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5047236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118110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0671969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6830497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9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7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1499440"/>
                  </a:ext>
                </a:extLst>
              </a:tr>
              <a:tr h="19137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693714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8333092"/>
                  </a:ext>
                </a:extLst>
              </a:tr>
              <a:tr h="1913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8336845"/>
                  </a:ext>
                </a:extLst>
              </a:tr>
              <a:tr h="19137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x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34656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620898"/>
              </p:ext>
            </p:extLst>
          </p:nvPr>
        </p:nvGraphicFramePr>
        <p:xfrm>
          <a:off x="332819" y="969815"/>
          <a:ext cx="9651688" cy="5369051"/>
        </p:xfrm>
        <a:graphic>
          <a:graphicData uri="http://schemas.openxmlformats.org/drawingml/2006/table">
            <a:tbl>
              <a:tblPr/>
              <a:tblGrid>
                <a:gridCol w="2118938">
                  <a:extLst>
                    <a:ext uri="{9D8B030D-6E8A-4147-A177-3AD203B41FA5}">
                      <a16:colId xmlns:a16="http://schemas.microsoft.com/office/drawing/2014/main" val="1965607954"/>
                    </a:ext>
                  </a:extLst>
                </a:gridCol>
                <a:gridCol w="1206812">
                  <a:extLst>
                    <a:ext uri="{9D8B030D-6E8A-4147-A177-3AD203B41FA5}">
                      <a16:colId xmlns:a16="http://schemas.microsoft.com/office/drawing/2014/main" val="3011947977"/>
                    </a:ext>
                  </a:extLst>
                </a:gridCol>
                <a:gridCol w="1192779">
                  <a:extLst>
                    <a:ext uri="{9D8B030D-6E8A-4147-A177-3AD203B41FA5}">
                      <a16:colId xmlns:a16="http://schemas.microsoft.com/office/drawing/2014/main" val="829843504"/>
                    </a:ext>
                  </a:extLst>
                </a:gridCol>
                <a:gridCol w="1192779">
                  <a:extLst>
                    <a:ext uri="{9D8B030D-6E8A-4147-A177-3AD203B41FA5}">
                      <a16:colId xmlns:a16="http://schemas.microsoft.com/office/drawing/2014/main" val="3414752246"/>
                    </a:ext>
                  </a:extLst>
                </a:gridCol>
                <a:gridCol w="1248909">
                  <a:extLst>
                    <a:ext uri="{9D8B030D-6E8A-4147-A177-3AD203B41FA5}">
                      <a16:colId xmlns:a16="http://schemas.microsoft.com/office/drawing/2014/main" val="2665662122"/>
                    </a:ext>
                  </a:extLst>
                </a:gridCol>
                <a:gridCol w="993515">
                  <a:extLst>
                    <a:ext uri="{9D8B030D-6E8A-4147-A177-3AD203B41FA5}">
                      <a16:colId xmlns:a16="http://schemas.microsoft.com/office/drawing/2014/main" val="3459249665"/>
                    </a:ext>
                  </a:extLst>
                </a:gridCol>
                <a:gridCol w="1697956">
                  <a:extLst>
                    <a:ext uri="{9D8B030D-6E8A-4147-A177-3AD203B41FA5}">
                      <a16:colId xmlns:a16="http://schemas.microsoft.com/office/drawing/2014/main" val="813937394"/>
                    </a:ext>
                  </a:extLst>
                </a:gridCol>
              </a:tblGrid>
              <a:tr h="18988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85130"/>
                  </a:ext>
                </a:extLst>
              </a:tr>
              <a:tr h="199787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2.01. 2022, 12:00 h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6889462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3295047"/>
                  </a:ext>
                </a:extLst>
              </a:tr>
              <a:tr h="18988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082087"/>
                  </a:ext>
                </a:extLst>
              </a:tr>
              <a:tr h="69069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331814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0163449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0882419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7101505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7518702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0499425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151415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5674797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1615865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045101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3021731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8883612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774730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193394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079421"/>
                  </a:ext>
                </a:extLst>
              </a:tr>
              <a:tr h="19265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7700069"/>
                  </a:ext>
                </a:extLst>
              </a:tr>
              <a:tr h="18988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0292148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1666529"/>
                  </a:ext>
                </a:extLst>
              </a:tr>
              <a:tr h="18988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8033077"/>
                  </a:ext>
                </a:extLst>
              </a:tr>
              <a:tr h="18988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x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5397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22.1.2022 00:55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1 </a:t>
            </a:r>
            <a:r>
              <a:rPr lang="cs-CZ" sz="2000" b="1" dirty="0" smtClean="0"/>
              <a:t>305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18002"/>
              </p:ext>
            </p:extLst>
          </p:nvPr>
        </p:nvGraphicFramePr>
        <p:xfrm>
          <a:off x="203200" y="969824"/>
          <a:ext cx="8783782" cy="5475720"/>
        </p:xfrm>
        <a:graphic>
          <a:graphicData uri="http://schemas.openxmlformats.org/drawingml/2006/table">
            <a:tbl>
              <a:tblPr/>
              <a:tblGrid>
                <a:gridCol w="1858675">
                  <a:extLst>
                    <a:ext uri="{9D8B030D-6E8A-4147-A177-3AD203B41FA5}">
                      <a16:colId xmlns:a16="http://schemas.microsoft.com/office/drawing/2014/main" val="2156991856"/>
                    </a:ext>
                  </a:extLst>
                </a:gridCol>
                <a:gridCol w="1058583">
                  <a:extLst>
                    <a:ext uri="{9D8B030D-6E8A-4147-A177-3AD203B41FA5}">
                      <a16:colId xmlns:a16="http://schemas.microsoft.com/office/drawing/2014/main" val="2621016916"/>
                    </a:ext>
                  </a:extLst>
                </a:gridCol>
                <a:gridCol w="1046275">
                  <a:extLst>
                    <a:ext uri="{9D8B030D-6E8A-4147-A177-3AD203B41FA5}">
                      <a16:colId xmlns:a16="http://schemas.microsoft.com/office/drawing/2014/main" val="2230482795"/>
                    </a:ext>
                  </a:extLst>
                </a:gridCol>
                <a:gridCol w="1046275">
                  <a:extLst>
                    <a:ext uri="{9D8B030D-6E8A-4147-A177-3AD203B41FA5}">
                      <a16:colId xmlns:a16="http://schemas.microsoft.com/office/drawing/2014/main" val="3236204387"/>
                    </a:ext>
                  </a:extLst>
                </a:gridCol>
                <a:gridCol w="1095512">
                  <a:extLst>
                    <a:ext uri="{9D8B030D-6E8A-4147-A177-3AD203B41FA5}">
                      <a16:colId xmlns:a16="http://schemas.microsoft.com/office/drawing/2014/main" val="3494841660"/>
                    </a:ext>
                  </a:extLst>
                </a:gridCol>
                <a:gridCol w="1489402">
                  <a:extLst>
                    <a:ext uri="{9D8B030D-6E8A-4147-A177-3AD203B41FA5}">
                      <a16:colId xmlns:a16="http://schemas.microsoft.com/office/drawing/2014/main" val="2602473936"/>
                    </a:ext>
                  </a:extLst>
                </a:gridCol>
                <a:gridCol w="1189060">
                  <a:extLst>
                    <a:ext uri="{9D8B030D-6E8A-4147-A177-3AD203B41FA5}">
                      <a16:colId xmlns:a16="http://schemas.microsoft.com/office/drawing/2014/main" val="4173893532"/>
                    </a:ext>
                  </a:extLst>
                </a:gridCol>
              </a:tblGrid>
              <a:tr h="18045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717573"/>
                  </a:ext>
                </a:extLst>
              </a:tr>
              <a:tr h="18045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2.01. 2022, 12:0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665567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1745302"/>
                  </a:ext>
                </a:extLst>
              </a:tr>
              <a:tr h="18045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717788"/>
                  </a:ext>
                </a:extLst>
              </a:tr>
              <a:tr h="53202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3470568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0775385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63774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223083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670785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799431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578469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477660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059072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113500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365417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0869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5857691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644759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7358655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79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5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9853870"/>
                  </a:ext>
                </a:extLst>
              </a:tr>
              <a:tr h="180457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070923"/>
                  </a:ext>
                </a:extLst>
              </a:tr>
              <a:tr h="18045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8851063"/>
                  </a:ext>
                </a:extLst>
              </a:tr>
              <a:tr h="35623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9308504"/>
                  </a:ext>
                </a:extLst>
              </a:tr>
              <a:tr h="1804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x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2810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5563893"/>
              </p:ext>
            </p:extLst>
          </p:nvPr>
        </p:nvGraphicFramePr>
        <p:xfrm>
          <a:off x="1522023" y="1993495"/>
          <a:ext cx="8652072" cy="311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389221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22.1.2022 0:55 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h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1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566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365132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839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3,7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61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25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1,6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33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7,8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49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28,6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305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53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16,1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690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52,9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71273" y="3026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456045"/>
              </p:ext>
            </p:extLst>
          </p:nvPr>
        </p:nvGraphicFramePr>
        <p:xfrm>
          <a:off x="803513" y="1322691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.2022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1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,2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98690" y="2927866"/>
            <a:ext cx="10397888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ne 19.1. bylo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37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nově přijatých C+ pacientů a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68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 v ČR i vzhledem ke zvyšujícím se počtům pozitivních testů, nižší počty příjmů C+ pac, ve všech krajích obnovena elektivní operativa s omezením do 50 % </a:t>
            </a:r>
            <a:r>
              <a:rPr lang="cs-CZ" sz="1700" dirty="0"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méně</a:t>
            </a:r>
            <a:r>
              <a:rPr lang="cs-CZ" sz="1700" dirty="0">
                <a:latin typeface="Segoe UI" panose="020B0502040204020203" pitchFamily="34" charset="0"/>
                <a:cs typeface="Segoe UI" panose="020B0502040204020203" pitchFamily="34" charset="0"/>
              </a:rPr>
              <a:t>. Stále zatížení IP long-COVID pacienty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 Dochází k úbytku personálu – nemocnost, OČR.</a:t>
            </a:r>
          </a:p>
          <a:p>
            <a:pPr lvl="1">
              <a:defRPr/>
            </a:pPr>
            <a:endParaRPr lang="cs-CZ" sz="17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 startAt="4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IP – long-</a:t>
            </a:r>
            <a:r>
              <a:rPr lang="cs-CZ" sz="17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pacienti k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22.1.2022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1:20 -&gt;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16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celkem, z toho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69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c na JIP, z toho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54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c na UPV/ECMO</a:t>
            </a: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454642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čtvrtý týden stoupá a pokles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u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 začíná stagnovat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141807"/>
              </p:ext>
            </p:extLst>
          </p:nvPr>
        </p:nvGraphicFramePr>
        <p:xfrm>
          <a:off x="332646" y="832093"/>
          <a:ext cx="11405086" cy="5156742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1854723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145323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není třeba omezovat provozy v nemocnicích regionu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dále trvá ,ale podařilo se navýšit pro ně kapacity poklesem obsazeno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lůžek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. Začínáme pociťovat dopa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personálního zabezpečení péče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5724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tabilní, kapacita standardní i IP pro C+ dostatečná, elektivní péče nadále částečně omezená ve prospěch COVID jednotek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personálu i s ohledem na vysoký počet PN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975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jednotlivých ZZ průběžně upravována kapacita C+ jednotek, v oblasti standardních lůžek t.č. cca obsazenost 50%, v IP zachová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zdor narůstajícímu počtu pozitivních výsledků AG a PCR je zatím v nemocnicích situace klidná s postupným návratem k elektivní operativě (stále s mírným omezením IP pro pooperační stavy)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564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635138"/>
              </p:ext>
            </p:extLst>
          </p:nvPr>
        </p:nvGraphicFramePr>
        <p:xfrm>
          <a:off x="288084" y="735512"/>
          <a:ext cx="11587543" cy="5522783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677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2695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dále trvá ,ale podařilo se navýšit pro ně kapacity poklesem obsazeno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lůžek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. Začínáme pociťovat dopa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personálního zabezpečení péče.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30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kles hospitalizovaných C+ pacientů standard/IP. Vyšší zátěž a potřeb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ntenzivní péče. Nedostatek personálu v důsledku zvýšené nemocnosti, karantény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tc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54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rsonální bariéry k obnově normálního provozu - jednak otázka karantén a dále nejistota stran dalšího vývoje potřeby lůžek blokují větší rozvolnění v elektivní péči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34115"/>
              </p:ext>
            </p:extLst>
          </p:nvPr>
        </p:nvGraphicFramePr>
        <p:xfrm>
          <a:off x="376606" y="813855"/>
          <a:ext cx="11519385" cy="4795637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25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021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863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není třeba omezovat provozy v nemocnicích regionu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situace klidná, předpokládáme potíže s nemocností personálu a personálem na OČR či v karanténě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5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á lůžková kapacita zlepšena – překlady mezi nemocnicemi jen ECMO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 přetrvává ECMO kapacita dostatečná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5850</TotalTime>
  <Words>1805</Words>
  <Application>Microsoft Office PowerPoint</Application>
  <PresentationFormat>Širokoúhlá obrazovka</PresentationFormat>
  <Paragraphs>521</Paragraphs>
  <Slides>10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DLP – Stav očkování u hospitalizovaných pacientů</vt:lpstr>
      <vt:lpstr>NDLP - Souhrn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933</cp:revision>
  <cp:lastPrinted>2020-10-20T04:21:56Z</cp:lastPrinted>
  <dcterms:created xsi:type="dcterms:W3CDTF">2020-07-15T10:33:32Z</dcterms:created>
  <dcterms:modified xsi:type="dcterms:W3CDTF">2022-01-22T15:22:09Z</dcterms:modified>
</cp:coreProperties>
</file>